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87" d="100"/>
          <a:sy n="87" d="100"/>
        </p:scale>
        <p:origin x="926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8</c:f>
              <c:numCache>
                <c:formatCode>m/d/yyyy</c:formatCode>
                <c:ptCount val="26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</c:numCache>
            </c:numRef>
          </c:cat>
          <c:val>
            <c:numRef>
              <c:f>Sheet1!$D$2:$D$268</c:f>
              <c:numCache>
                <c:formatCode>#,##0</c:formatCode>
                <c:ptCount val="267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2</c:v>
                </c:pt>
                <c:pt idx="69">
                  <c:v>608</c:v>
                </c:pt>
                <c:pt idx="70">
                  <c:v>603</c:v>
                </c:pt>
                <c:pt idx="71">
                  <c:v>580</c:v>
                </c:pt>
                <c:pt idx="72">
                  <c:v>556</c:v>
                </c:pt>
                <c:pt idx="73">
                  <c:v>544</c:v>
                </c:pt>
                <c:pt idx="74">
                  <c:v>525</c:v>
                </c:pt>
                <c:pt idx="75">
                  <c:v>515</c:v>
                </c:pt>
                <c:pt idx="76">
                  <c:v>501</c:v>
                </c:pt>
                <c:pt idx="77">
                  <c:v>469</c:v>
                </c:pt>
                <c:pt idx="78">
                  <c:v>470</c:v>
                </c:pt>
                <c:pt idx="79">
                  <c:v>464</c:v>
                </c:pt>
                <c:pt idx="80">
                  <c:v>444</c:v>
                </c:pt>
                <c:pt idx="81">
                  <c:v>449</c:v>
                </c:pt>
                <c:pt idx="82">
                  <c:v>446</c:v>
                </c:pt>
                <c:pt idx="83">
                  <c:v>436</c:v>
                </c:pt>
                <c:pt idx="84">
                  <c:v>404</c:v>
                </c:pt>
                <c:pt idx="85">
                  <c:v>388</c:v>
                </c:pt>
                <c:pt idx="86">
                  <c:v>393</c:v>
                </c:pt>
                <c:pt idx="87">
                  <c:v>366</c:v>
                </c:pt>
                <c:pt idx="88">
                  <c:v>355</c:v>
                </c:pt>
                <c:pt idx="89">
                  <c:v>338</c:v>
                </c:pt>
                <c:pt idx="90">
                  <c:v>346</c:v>
                </c:pt>
                <c:pt idx="91">
                  <c:v>318</c:v>
                </c:pt>
                <c:pt idx="92">
                  <c:v>304</c:v>
                </c:pt>
                <c:pt idx="93">
                  <c:v>292</c:v>
                </c:pt>
                <c:pt idx="94">
                  <c:v>290</c:v>
                </c:pt>
                <c:pt idx="95">
                  <c:v>297</c:v>
                </c:pt>
                <c:pt idx="96">
                  <c:v>292</c:v>
                </c:pt>
                <c:pt idx="97">
                  <c:v>290</c:v>
                </c:pt>
                <c:pt idx="98">
                  <c:v>286</c:v>
                </c:pt>
                <c:pt idx="99">
                  <c:v>278</c:v>
                </c:pt>
                <c:pt idx="100">
                  <c:v>297</c:v>
                </c:pt>
                <c:pt idx="101">
                  <c:v>307</c:v>
                </c:pt>
                <c:pt idx="102">
                  <c:v>303</c:v>
                </c:pt>
                <c:pt idx="103">
                  <c:v>301</c:v>
                </c:pt>
                <c:pt idx="104">
                  <c:v>311</c:v>
                </c:pt>
                <c:pt idx="105">
                  <c:v>307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5</c:v>
                </c:pt>
                <c:pt idx="123">
                  <c:v>456</c:v>
                </c:pt>
                <c:pt idx="124">
                  <c:v>475</c:v>
                </c:pt>
                <c:pt idx="125">
                  <c:v>512</c:v>
                </c:pt>
                <c:pt idx="126">
                  <c:v>535</c:v>
                </c:pt>
                <c:pt idx="127">
                  <c:v>554</c:v>
                </c:pt>
                <c:pt idx="128">
                  <c:v>565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0</c:v>
                </c:pt>
                <c:pt idx="152">
                  <c:v>527</c:v>
                </c:pt>
                <c:pt idx="153">
                  <c:v>545</c:v>
                </c:pt>
                <c:pt idx="154">
                  <c:v>529</c:v>
                </c:pt>
                <c:pt idx="155">
                  <c:v>528</c:v>
                </c:pt>
                <c:pt idx="156">
                  <c:v>545</c:v>
                </c:pt>
                <c:pt idx="157">
                  <c:v>539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4</c:v>
                </c:pt>
                <c:pt idx="165">
                  <c:v>559</c:v>
                </c:pt>
                <c:pt idx="166">
                  <c:v>578</c:v>
                </c:pt>
                <c:pt idx="167">
                  <c:v>568</c:v>
                </c:pt>
                <c:pt idx="168">
                  <c:v>592</c:v>
                </c:pt>
                <c:pt idx="169">
                  <c:v>606</c:v>
                </c:pt>
                <c:pt idx="170">
                  <c:v>616</c:v>
                </c:pt>
                <c:pt idx="171">
                  <c:v>634</c:v>
                </c:pt>
                <c:pt idx="172">
                  <c:v>655</c:v>
                </c:pt>
                <c:pt idx="173">
                  <c:v>663</c:v>
                </c:pt>
                <c:pt idx="174">
                  <c:v>680</c:v>
                </c:pt>
                <c:pt idx="175">
                  <c:v>694</c:v>
                </c:pt>
                <c:pt idx="176">
                  <c:v>681</c:v>
                </c:pt>
                <c:pt idx="177">
                  <c:v>729</c:v>
                </c:pt>
                <c:pt idx="178">
                  <c:v>722</c:v>
                </c:pt>
                <c:pt idx="179">
                  <c:v>715</c:v>
                </c:pt>
                <c:pt idx="180">
                  <c:v>740</c:v>
                </c:pt>
                <c:pt idx="181">
                  <c:v>781</c:v>
                </c:pt>
                <c:pt idx="182">
                  <c:v>799</c:v>
                </c:pt>
                <c:pt idx="183">
                  <c:v>805</c:v>
                </c:pt>
                <c:pt idx="184">
                  <c:v>827</c:v>
                </c:pt>
                <c:pt idx="185">
                  <c:v>842</c:v>
                </c:pt>
                <c:pt idx="186">
                  <c:v>851</c:v>
                </c:pt>
                <c:pt idx="187">
                  <c:v>870</c:v>
                </c:pt>
                <c:pt idx="188">
                  <c:v>919</c:v>
                </c:pt>
                <c:pt idx="189">
                  <c:v>908</c:v>
                </c:pt>
                <c:pt idx="190">
                  <c:v>914</c:v>
                </c:pt>
                <c:pt idx="191">
                  <c:v>915</c:v>
                </c:pt>
                <c:pt idx="192">
                  <c:v>926</c:v>
                </c:pt>
                <c:pt idx="193">
                  <c:v>910</c:v>
                </c:pt>
                <c:pt idx="194">
                  <c:v>936</c:v>
                </c:pt>
                <c:pt idx="195">
                  <c:v>941</c:v>
                </c:pt>
                <c:pt idx="196">
                  <c:v>927</c:v>
                </c:pt>
                <c:pt idx="197">
                  <c:v>925</c:v>
                </c:pt>
                <c:pt idx="198">
                  <c:v>951</c:v>
                </c:pt>
                <c:pt idx="199">
                  <c:v>943</c:v>
                </c:pt>
                <c:pt idx="200">
                  <c:v>937</c:v>
                </c:pt>
                <c:pt idx="201">
                  <c:v>932</c:v>
                </c:pt>
                <c:pt idx="202">
                  <c:v>972</c:v>
                </c:pt>
                <c:pt idx="203">
                  <c:v>931</c:v>
                </c:pt>
                <c:pt idx="204">
                  <c:v>923</c:v>
                </c:pt>
                <c:pt idx="207">
                  <c:v>876</c:v>
                </c:pt>
                <c:pt idx="208">
                  <c:v>861</c:v>
                </c:pt>
                <c:pt idx="209">
                  <c:v>865</c:v>
                </c:pt>
                <c:pt idx="210">
                  <c:v>838</c:v>
                </c:pt>
                <c:pt idx="211">
                  <c:v>811</c:v>
                </c:pt>
                <c:pt idx="212">
                  <c:v>787</c:v>
                </c:pt>
                <c:pt idx="213">
                  <c:v>760</c:v>
                </c:pt>
                <c:pt idx="214">
                  <c:v>723</c:v>
                </c:pt>
                <c:pt idx="215">
                  <c:v>712</c:v>
                </c:pt>
                <c:pt idx="216">
                  <c:v>707</c:v>
                </c:pt>
                <c:pt idx="217">
                  <c:v>728</c:v>
                </c:pt>
                <c:pt idx="218">
                  <c:v>702</c:v>
                </c:pt>
                <c:pt idx="219">
                  <c:v>669</c:v>
                </c:pt>
                <c:pt idx="220">
                  <c:v>625</c:v>
                </c:pt>
                <c:pt idx="221">
                  <c:v>602</c:v>
                </c:pt>
                <c:pt idx="222">
                  <c:v>602</c:v>
                </c:pt>
                <c:pt idx="223">
                  <c:v>594</c:v>
                </c:pt>
                <c:pt idx="224">
                  <c:v>571</c:v>
                </c:pt>
                <c:pt idx="225">
                  <c:v>538</c:v>
                </c:pt>
                <c:pt idx="226">
                  <c:v>521</c:v>
                </c:pt>
                <c:pt idx="227">
                  <c:v>515</c:v>
                </c:pt>
                <c:pt idx="228">
                  <c:v>487</c:v>
                </c:pt>
                <c:pt idx="229">
                  <c:v>492</c:v>
                </c:pt>
                <c:pt idx="230">
                  <c:v>489</c:v>
                </c:pt>
                <c:pt idx="231">
                  <c:v>472</c:v>
                </c:pt>
                <c:pt idx="232">
                  <c:v>460</c:v>
                </c:pt>
                <c:pt idx="233">
                  <c:v>414</c:v>
                </c:pt>
                <c:pt idx="234">
                  <c:v>399</c:v>
                </c:pt>
                <c:pt idx="235">
                  <c:v>375</c:v>
                </c:pt>
                <c:pt idx="236">
                  <c:v>369</c:v>
                </c:pt>
                <c:pt idx="237">
                  <c:v>359</c:v>
                </c:pt>
                <c:pt idx="238">
                  <c:v>357</c:v>
                </c:pt>
                <c:pt idx="239">
                  <c:v>331</c:v>
                </c:pt>
                <c:pt idx="240">
                  <c:v>300</c:v>
                </c:pt>
                <c:pt idx="241">
                  <c:v>276</c:v>
                </c:pt>
                <c:pt idx="242">
                  <c:v>260</c:v>
                </c:pt>
                <c:pt idx="243">
                  <c:v>266</c:v>
                </c:pt>
                <c:pt idx="244">
                  <c:v>263</c:v>
                </c:pt>
                <c:pt idx="245">
                  <c:v>249</c:v>
                </c:pt>
                <c:pt idx="246">
                  <c:v>231</c:v>
                </c:pt>
                <c:pt idx="247">
                  <c:v>218</c:v>
                </c:pt>
                <c:pt idx="248">
                  <c:v>201</c:v>
                </c:pt>
                <c:pt idx="249">
                  <c:v>185</c:v>
                </c:pt>
                <c:pt idx="250">
                  <c:v>183</c:v>
                </c:pt>
                <c:pt idx="251">
                  <c:v>185</c:v>
                </c:pt>
                <c:pt idx="252">
                  <c:v>163</c:v>
                </c:pt>
                <c:pt idx="253">
                  <c:v>153</c:v>
                </c:pt>
                <c:pt idx="254">
                  <c:v>152</c:v>
                </c:pt>
                <c:pt idx="255">
                  <c:v>138</c:v>
                </c:pt>
                <c:pt idx="256">
                  <c:v>122</c:v>
                </c:pt>
                <c:pt idx="257">
                  <c:v>122</c:v>
                </c:pt>
                <c:pt idx="258">
                  <c:v>113</c:v>
                </c:pt>
                <c:pt idx="259">
                  <c:v>109</c:v>
                </c:pt>
                <c:pt idx="260">
                  <c:v>101</c:v>
                </c:pt>
                <c:pt idx="261">
                  <c:v>92</c:v>
                </c:pt>
                <c:pt idx="262">
                  <c:v>75</c:v>
                </c:pt>
                <c:pt idx="263">
                  <c:v>68</c:v>
                </c:pt>
                <c:pt idx="264">
                  <c:v>65</c:v>
                </c:pt>
                <c:pt idx="265">
                  <c:v>63</c:v>
                </c:pt>
                <c:pt idx="266">
                  <c:v>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6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cs-CZ" sz="1197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cs-CZ"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68</c:f>
              <c:numCache>
                <c:formatCode>m/d/yyyy</c:formatCode>
                <c:ptCount val="26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</c:numCache>
            </c:numRef>
          </c:cat>
          <c:val>
            <c:numRef>
              <c:f>Sheet1!$B$2:$B$268</c:f>
              <c:numCache>
                <c:formatCode>#,##0</c:formatCode>
                <c:ptCount val="267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>
                  <c:v>657</c:v>
                </c:pt>
                <c:pt idx="244">
                  <c:v>642</c:v>
                </c:pt>
                <c:pt idx="245">
                  <c:v>617</c:v>
                </c:pt>
                <c:pt idx="246">
                  <c:v>625</c:v>
                </c:pt>
                <c:pt idx="247">
                  <c:v>645</c:v>
                </c:pt>
                <c:pt idx="248">
                  <c:v>650</c:v>
                </c:pt>
                <c:pt idx="249">
                  <c:v>639</c:v>
                </c:pt>
                <c:pt idx="250">
                  <c:v>643</c:v>
                </c:pt>
                <c:pt idx="251">
                  <c:v>651</c:v>
                </c:pt>
                <c:pt idx="252">
                  <c:v>663</c:v>
                </c:pt>
                <c:pt idx="253">
                  <c:v>669</c:v>
                </c:pt>
                <c:pt idx="254">
                  <c:v>662</c:v>
                </c:pt>
                <c:pt idx="255">
                  <c:v>673</c:v>
                </c:pt>
                <c:pt idx="256">
                  <c:v>669</c:v>
                </c:pt>
                <c:pt idx="257">
                  <c:v>675</c:v>
                </c:pt>
                <c:pt idx="258">
                  <c:v>681</c:v>
                </c:pt>
                <c:pt idx="259">
                  <c:v>669</c:v>
                </c:pt>
                <c:pt idx="260">
                  <c:v>659</c:v>
                </c:pt>
                <c:pt idx="261">
                  <c:v>677</c:v>
                </c:pt>
                <c:pt idx="262">
                  <c:v>693</c:v>
                </c:pt>
                <c:pt idx="263">
                  <c:v>695</c:v>
                </c:pt>
                <c:pt idx="264">
                  <c:v>696</c:v>
                </c:pt>
                <c:pt idx="265">
                  <c:v>687</c:v>
                </c:pt>
                <c:pt idx="266">
                  <c:v>7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8</c:f>
              <c:numCache>
                <c:formatCode>m/d/yyyy</c:formatCode>
                <c:ptCount val="26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</c:numCache>
            </c:numRef>
          </c:cat>
          <c:val>
            <c:numRef>
              <c:f>Sheet1!$C$2:$C$268</c:f>
              <c:numCache>
                <c:formatCode>#,##0</c:formatCode>
                <c:ptCount val="26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8</c:f>
              <c:numCache>
                <c:formatCode>m/d/yyyy</c:formatCode>
                <c:ptCount val="26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</c:numCache>
            </c:numRef>
          </c:cat>
          <c:val>
            <c:numRef>
              <c:f>Sheet1!$D$2:$D$268</c:f>
              <c:numCache>
                <c:formatCode>#,##0</c:formatCode>
                <c:ptCount val="267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49</c:v>
                </c:pt>
                <c:pt idx="68">
                  <c:v>3353</c:v>
                </c:pt>
                <c:pt idx="69">
                  <c:v>3289</c:v>
                </c:pt>
                <c:pt idx="70">
                  <c:v>3194</c:v>
                </c:pt>
                <c:pt idx="71">
                  <c:v>2966</c:v>
                </c:pt>
                <c:pt idx="72">
                  <c:v>2889</c:v>
                </c:pt>
                <c:pt idx="73">
                  <c:v>2749</c:v>
                </c:pt>
                <c:pt idx="74">
                  <c:v>2629</c:v>
                </c:pt>
                <c:pt idx="75">
                  <c:v>2554</c:v>
                </c:pt>
                <c:pt idx="76">
                  <c:v>2560</c:v>
                </c:pt>
                <c:pt idx="77">
                  <c:v>2484</c:v>
                </c:pt>
                <c:pt idx="78">
                  <c:v>2441</c:v>
                </c:pt>
                <c:pt idx="79">
                  <c:v>2362</c:v>
                </c:pt>
                <c:pt idx="80">
                  <c:v>2266</c:v>
                </c:pt>
                <c:pt idx="81">
                  <c:v>2144</c:v>
                </c:pt>
                <c:pt idx="82">
                  <c:v>2129</c:v>
                </c:pt>
                <c:pt idx="83">
                  <c:v>2157</c:v>
                </c:pt>
                <c:pt idx="84">
                  <c:v>2095</c:v>
                </c:pt>
                <c:pt idx="85">
                  <c:v>2021</c:v>
                </c:pt>
                <c:pt idx="86">
                  <c:v>1931</c:v>
                </c:pt>
                <c:pt idx="87">
                  <c:v>1807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5</c:v>
                </c:pt>
                <c:pt idx="133">
                  <c:v>3043</c:v>
                </c:pt>
                <c:pt idx="134">
                  <c:v>2965</c:v>
                </c:pt>
                <c:pt idx="135">
                  <c:v>2925</c:v>
                </c:pt>
                <c:pt idx="136">
                  <c:v>2873</c:v>
                </c:pt>
                <c:pt idx="137">
                  <c:v>2758</c:v>
                </c:pt>
                <c:pt idx="138">
                  <c:v>2745</c:v>
                </c:pt>
                <c:pt idx="139">
                  <c:v>2703</c:v>
                </c:pt>
                <c:pt idx="140">
                  <c:v>2639</c:v>
                </c:pt>
                <c:pt idx="141">
                  <c:v>2594</c:v>
                </c:pt>
                <c:pt idx="142">
                  <c:v>2589</c:v>
                </c:pt>
                <c:pt idx="143">
                  <c:v>2554</c:v>
                </c:pt>
                <c:pt idx="144">
                  <c:v>2521</c:v>
                </c:pt>
                <c:pt idx="145">
                  <c:v>2522</c:v>
                </c:pt>
                <c:pt idx="146">
                  <c:v>2544</c:v>
                </c:pt>
                <c:pt idx="147">
                  <c:v>2526</c:v>
                </c:pt>
                <c:pt idx="148">
                  <c:v>2417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5</c:v>
                </c:pt>
                <c:pt idx="159">
                  <c:v>2409</c:v>
                </c:pt>
                <c:pt idx="160">
                  <c:v>2470</c:v>
                </c:pt>
                <c:pt idx="161">
                  <c:v>2488</c:v>
                </c:pt>
                <c:pt idx="162">
                  <c:v>2419</c:v>
                </c:pt>
                <c:pt idx="163">
                  <c:v>2452</c:v>
                </c:pt>
                <c:pt idx="164">
                  <c:v>2404</c:v>
                </c:pt>
                <c:pt idx="165">
                  <c:v>2471</c:v>
                </c:pt>
                <c:pt idx="166">
                  <c:v>2589</c:v>
                </c:pt>
                <c:pt idx="167">
                  <c:v>2622</c:v>
                </c:pt>
                <c:pt idx="168">
                  <c:v>2652</c:v>
                </c:pt>
                <c:pt idx="169">
                  <c:v>2716</c:v>
                </c:pt>
                <c:pt idx="170">
                  <c:v>2756</c:v>
                </c:pt>
                <c:pt idx="171">
                  <c:v>2676</c:v>
                </c:pt>
                <c:pt idx="172">
                  <c:v>2687</c:v>
                </c:pt>
                <c:pt idx="173">
                  <c:v>2807</c:v>
                </c:pt>
                <c:pt idx="174">
                  <c:v>2999</c:v>
                </c:pt>
                <c:pt idx="175">
                  <c:v>3016</c:v>
                </c:pt>
                <c:pt idx="176">
                  <c:v>3026</c:v>
                </c:pt>
                <c:pt idx="177">
                  <c:v>3038</c:v>
                </c:pt>
                <c:pt idx="178">
                  <c:v>3124</c:v>
                </c:pt>
                <c:pt idx="179">
                  <c:v>3230</c:v>
                </c:pt>
                <c:pt idx="180">
                  <c:v>3368</c:v>
                </c:pt>
                <c:pt idx="181">
                  <c:v>3573</c:v>
                </c:pt>
                <c:pt idx="182">
                  <c:v>3617</c:v>
                </c:pt>
                <c:pt idx="183">
                  <c:v>3593</c:v>
                </c:pt>
                <c:pt idx="184">
                  <c:v>3676</c:v>
                </c:pt>
                <c:pt idx="185">
                  <c:v>3705</c:v>
                </c:pt>
                <c:pt idx="186">
                  <c:v>3783</c:v>
                </c:pt>
                <c:pt idx="187">
                  <c:v>3872</c:v>
                </c:pt>
                <c:pt idx="188">
                  <c:v>3923</c:v>
                </c:pt>
                <c:pt idx="189">
                  <c:v>3940</c:v>
                </c:pt>
                <c:pt idx="190">
                  <c:v>3955</c:v>
                </c:pt>
                <c:pt idx="191">
                  <c:v>3922</c:v>
                </c:pt>
                <c:pt idx="192">
                  <c:v>3858</c:v>
                </c:pt>
                <c:pt idx="193">
                  <c:v>3971</c:v>
                </c:pt>
                <c:pt idx="194">
                  <c:v>4039</c:v>
                </c:pt>
                <c:pt idx="195">
                  <c:v>4184</c:v>
                </c:pt>
                <c:pt idx="196">
                  <c:v>4102</c:v>
                </c:pt>
                <c:pt idx="197">
                  <c:v>4022</c:v>
                </c:pt>
                <c:pt idx="198">
                  <c:v>3994</c:v>
                </c:pt>
                <c:pt idx="199">
                  <c:v>3791</c:v>
                </c:pt>
                <c:pt idx="200">
                  <c:v>3717</c:v>
                </c:pt>
                <c:pt idx="201">
                  <c:v>3794</c:v>
                </c:pt>
                <c:pt idx="202">
                  <c:v>3810</c:v>
                </c:pt>
                <c:pt idx="203">
                  <c:v>3680</c:v>
                </c:pt>
                <c:pt idx="204">
                  <c:v>3536</c:v>
                </c:pt>
                <c:pt idx="207">
                  <c:v>3354</c:v>
                </c:pt>
                <c:pt idx="208">
                  <c:v>3383</c:v>
                </c:pt>
                <c:pt idx="209">
                  <c:v>3356</c:v>
                </c:pt>
                <c:pt idx="210">
                  <c:v>3280</c:v>
                </c:pt>
                <c:pt idx="211">
                  <c:v>3145</c:v>
                </c:pt>
                <c:pt idx="212">
                  <c:v>2997</c:v>
                </c:pt>
                <c:pt idx="213">
                  <c:v>2811</c:v>
                </c:pt>
                <c:pt idx="214">
                  <c:v>2768</c:v>
                </c:pt>
                <c:pt idx="215">
                  <c:v>2829</c:v>
                </c:pt>
                <c:pt idx="216">
                  <c:v>2842</c:v>
                </c:pt>
                <c:pt idx="217">
                  <c:v>3040</c:v>
                </c:pt>
                <c:pt idx="218">
                  <c:v>2863</c:v>
                </c:pt>
                <c:pt idx="219">
                  <c:v>2685</c:v>
                </c:pt>
                <c:pt idx="220">
                  <c:v>2415</c:v>
                </c:pt>
                <c:pt idx="221">
                  <c:v>2319</c:v>
                </c:pt>
                <c:pt idx="222">
                  <c:v>2334</c:v>
                </c:pt>
                <c:pt idx="223">
                  <c:v>2329</c:v>
                </c:pt>
                <c:pt idx="224">
                  <c:v>2233</c:v>
                </c:pt>
                <c:pt idx="225">
                  <c:v>2103</c:v>
                </c:pt>
                <c:pt idx="226">
                  <c:v>1926</c:v>
                </c:pt>
                <c:pt idx="227">
                  <c:v>1779</c:v>
                </c:pt>
                <c:pt idx="228">
                  <c:v>1745</c:v>
                </c:pt>
                <c:pt idx="229">
                  <c:v>1752</c:v>
                </c:pt>
                <c:pt idx="230">
                  <c:v>1807</c:v>
                </c:pt>
                <c:pt idx="231">
                  <c:v>1705</c:v>
                </c:pt>
                <c:pt idx="232">
                  <c:v>1610</c:v>
                </c:pt>
                <c:pt idx="233">
                  <c:v>1522</c:v>
                </c:pt>
                <c:pt idx="234">
                  <c:v>1421</c:v>
                </c:pt>
                <c:pt idx="235">
                  <c:v>1352</c:v>
                </c:pt>
                <c:pt idx="236">
                  <c:v>1348</c:v>
                </c:pt>
                <c:pt idx="237">
                  <c:v>1294</c:v>
                </c:pt>
                <c:pt idx="238">
                  <c:v>1271</c:v>
                </c:pt>
                <c:pt idx="239">
                  <c:v>1230</c:v>
                </c:pt>
                <c:pt idx="240">
                  <c:v>1173</c:v>
                </c:pt>
                <c:pt idx="241">
                  <c:v>1126</c:v>
                </c:pt>
                <c:pt idx="242">
                  <c:v>1132</c:v>
                </c:pt>
                <c:pt idx="243">
                  <c:v>1124</c:v>
                </c:pt>
                <c:pt idx="244">
                  <c:v>1118</c:v>
                </c:pt>
                <c:pt idx="245">
                  <c:v>1049</c:v>
                </c:pt>
                <c:pt idx="246">
                  <c:v>987</c:v>
                </c:pt>
                <c:pt idx="247">
                  <c:v>913</c:v>
                </c:pt>
                <c:pt idx="248">
                  <c:v>849</c:v>
                </c:pt>
                <c:pt idx="249">
                  <c:v>806</c:v>
                </c:pt>
                <c:pt idx="250">
                  <c:v>807</c:v>
                </c:pt>
                <c:pt idx="251">
                  <c:v>770</c:v>
                </c:pt>
                <c:pt idx="252">
                  <c:v>723</c:v>
                </c:pt>
                <c:pt idx="253">
                  <c:v>653</c:v>
                </c:pt>
                <c:pt idx="254">
                  <c:v>634</c:v>
                </c:pt>
                <c:pt idx="255">
                  <c:v>611</c:v>
                </c:pt>
                <c:pt idx="256">
                  <c:v>549</c:v>
                </c:pt>
                <c:pt idx="257">
                  <c:v>546</c:v>
                </c:pt>
                <c:pt idx="258">
                  <c:v>518</c:v>
                </c:pt>
                <c:pt idx="259">
                  <c:v>461</c:v>
                </c:pt>
                <c:pt idx="260">
                  <c:v>423</c:v>
                </c:pt>
                <c:pt idx="261">
                  <c:v>393</c:v>
                </c:pt>
                <c:pt idx="262">
                  <c:v>384</c:v>
                </c:pt>
                <c:pt idx="263">
                  <c:v>362</c:v>
                </c:pt>
                <c:pt idx="264">
                  <c:v>351</c:v>
                </c:pt>
                <c:pt idx="265">
                  <c:v>313</c:v>
                </c:pt>
                <c:pt idx="266">
                  <c:v>2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66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68</c:f>
              <c:numCache>
                <c:formatCode>m/d/yyyy</c:formatCode>
                <c:ptCount val="26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</c:numCache>
            </c:numRef>
          </c:cat>
          <c:val>
            <c:numRef>
              <c:f>Sheet1!$B$2:$B$268</c:f>
              <c:numCache>
                <c:formatCode>#,##0</c:formatCode>
                <c:ptCount val="267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  <c:pt idx="244">
                  <c:v>6648</c:v>
                </c:pt>
                <c:pt idx="245">
                  <c:v>6485</c:v>
                </c:pt>
                <c:pt idx="246">
                  <c:v>6269</c:v>
                </c:pt>
                <c:pt idx="247">
                  <c:v>6208</c:v>
                </c:pt>
                <c:pt idx="248">
                  <c:v>6402</c:v>
                </c:pt>
                <c:pt idx="249">
                  <c:v>6675</c:v>
                </c:pt>
                <c:pt idx="250">
                  <c:v>6723</c:v>
                </c:pt>
                <c:pt idx="251">
                  <c:v>6553</c:v>
                </c:pt>
                <c:pt idx="252">
                  <c:v>6285</c:v>
                </c:pt>
                <c:pt idx="253">
                  <c:v>6296</c:v>
                </c:pt>
                <c:pt idx="254">
                  <c:v>6008</c:v>
                </c:pt>
                <c:pt idx="255">
                  <c:v>6344</c:v>
                </c:pt>
                <c:pt idx="256">
                  <c:v>6536</c:v>
                </c:pt>
                <c:pt idx="257">
                  <c:v>6476</c:v>
                </c:pt>
                <c:pt idx="258">
                  <c:v>6402</c:v>
                </c:pt>
                <c:pt idx="259">
                  <c:v>6329</c:v>
                </c:pt>
                <c:pt idx="260">
                  <c:v>6226</c:v>
                </c:pt>
                <c:pt idx="261">
                  <c:v>6073</c:v>
                </c:pt>
                <c:pt idx="262">
                  <c:v>6422</c:v>
                </c:pt>
                <c:pt idx="263">
                  <c:v>6556</c:v>
                </c:pt>
                <c:pt idx="264">
                  <c:v>6563</c:v>
                </c:pt>
                <c:pt idx="265">
                  <c:v>6437</c:v>
                </c:pt>
                <c:pt idx="266">
                  <c:v>63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8</c:f>
              <c:numCache>
                <c:formatCode>m/d/yyyy</c:formatCode>
                <c:ptCount val="26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</c:numCache>
            </c:numRef>
          </c:cat>
          <c:val>
            <c:numRef>
              <c:f>Sheet1!$C$2:$C$268</c:f>
              <c:numCache>
                <c:formatCode>#,##0</c:formatCode>
                <c:ptCount val="26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8</c:f>
              <c:numCache>
                <c:formatCode>m/d/yyyy</c:formatCode>
                <c:ptCount val="26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</c:numCache>
            </c:numRef>
          </c:cat>
          <c:val>
            <c:numRef>
              <c:f>Sheet1!$D$2:$D$268</c:f>
              <c:numCache>
                <c:formatCode>#,##0</c:formatCode>
                <c:ptCount val="26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1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4</c:v>
                </c:pt>
                <c:pt idx="199">
                  <c:v>35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8</c:v>
                </c:pt>
                <c:pt idx="232">
                  <c:v>20</c:v>
                </c:pt>
                <c:pt idx="233">
                  <c:v>21</c:v>
                </c:pt>
                <c:pt idx="234">
                  <c:v>19</c:v>
                </c:pt>
                <c:pt idx="235">
                  <c:v>17</c:v>
                </c:pt>
                <c:pt idx="236">
                  <c:v>15</c:v>
                </c:pt>
                <c:pt idx="237">
                  <c:v>14</c:v>
                </c:pt>
                <c:pt idx="238">
                  <c:v>17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  <c:pt idx="243">
                  <c:v>18</c:v>
                </c:pt>
                <c:pt idx="244">
                  <c:v>15</c:v>
                </c:pt>
                <c:pt idx="245">
                  <c:v>16</c:v>
                </c:pt>
                <c:pt idx="246">
                  <c:v>17</c:v>
                </c:pt>
                <c:pt idx="247">
                  <c:v>18</c:v>
                </c:pt>
                <c:pt idx="248">
                  <c:v>14</c:v>
                </c:pt>
                <c:pt idx="249">
                  <c:v>12</c:v>
                </c:pt>
                <c:pt idx="250">
                  <c:v>11</c:v>
                </c:pt>
                <c:pt idx="251">
                  <c:v>11</c:v>
                </c:pt>
                <c:pt idx="252">
                  <c:v>10</c:v>
                </c:pt>
                <c:pt idx="253">
                  <c:v>9</c:v>
                </c:pt>
                <c:pt idx="254">
                  <c:v>8</c:v>
                </c:pt>
                <c:pt idx="255">
                  <c:v>8</c:v>
                </c:pt>
                <c:pt idx="256">
                  <c:v>8</c:v>
                </c:pt>
                <c:pt idx="257">
                  <c:v>7</c:v>
                </c:pt>
                <c:pt idx="258">
                  <c:v>6</c:v>
                </c:pt>
                <c:pt idx="259">
                  <c:v>6</c:v>
                </c:pt>
                <c:pt idx="260">
                  <c:v>6</c:v>
                </c:pt>
                <c:pt idx="261">
                  <c:v>5</c:v>
                </c:pt>
                <c:pt idx="262">
                  <c:v>4</c:v>
                </c:pt>
                <c:pt idx="263">
                  <c:v>3</c:v>
                </c:pt>
                <c:pt idx="264">
                  <c:v>3</c:v>
                </c:pt>
                <c:pt idx="265">
                  <c:v>3</c:v>
                </c:pt>
                <c:pt idx="266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6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68</c:f>
              <c:numCache>
                <c:formatCode>m/d/yyyy</c:formatCode>
                <c:ptCount val="26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</c:numCache>
            </c:numRef>
          </c:cat>
          <c:val>
            <c:numRef>
              <c:f>Sheet1!$B$2:$B$268</c:f>
              <c:numCache>
                <c:formatCode>#,##0</c:formatCode>
                <c:ptCount val="267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>
                  <c:v>49</c:v>
                </c:pt>
                <c:pt idx="244">
                  <c:v>48</c:v>
                </c:pt>
                <c:pt idx="245">
                  <c:v>51</c:v>
                </c:pt>
                <c:pt idx="246">
                  <c:v>48</c:v>
                </c:pt>
                <c:pt idx="247">
                  <c:v>50</c:v>
                </c:pt>
                <c:pt idx="248">
                  <c:v>52</c:v>
                </c:pt>
                <c:pt idx="249">
                  <c:v>51</c:v>
                </c:pt>
                <c:pt idx="250">
                  <c:v>50</c:v>
                </c:pt>
                <c:pt idx="251">
                  <c:v>52</c:v>
                </c:pt>
                <c:pt idx="252">
                  <c:v>54</c:v>
                </c:pt>
                <c:pt idx="253">
                  <c:v>54</c:v>
                </c:pt>
                <c:pt idx="254">
                  <c:v>56</c:v>
                </c:pt>
                <c:pt idx="255">
                  <c:v>54</c:v>
                </c:pt>
                <c:pt idx="256">
                  <c:v>51</c:v>
                </c:pt>
                <c:pt idx="257">
                  <c:v>52</c:v>
                </c:pt>
                <c:pt idx="258">
                  <c:v>53</c:v>
                </c:pt>
                <c:pt idx="259">
                  <c:v>54</c:v>
                </c:pt>
                <c:pt idx="260">
                  <c:v>56</c:v>
                </c:pt>
                <c:pt idx="261">
                  <c:v>57</c:v>
                </c:pt>
                <c:pt idx="262">
                  <c:v>59</c:v>
                </c:pt>
                <c:pt idx="263">
                  <c:v>58</c:v>
                </c:pt>
                <c:pt idx="264">
                  <c:v>58</c:v>
                </c:pt>
                <c:pt idx="265">
                  <c:v>63</c:v>
                </c:pt>
                <c:pt idx="266">
                  <c:v>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8</c:f>
              <c:numCache>
                <c:formatCode>m/d/yyyy</c:formatCode>
                <c:ptCount val="26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</c:numCache>
            </c:numRef>
          </c:cat>
          <c:val>
            <c:numRef>
              <c:f>Sheet1!$C$2:$C$268</c:f>
              <c:numCache>
                <c:formatCode>#,##0</c:formatCode>
                <c:ptCount val="26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67102705906E-2"/>
          <c:y val="4.3204214070286948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8</c:f>
              <c:numCache>
                <c:formatCode>m/d/yyyy</c:formatCode>
                <c:ptCount val="26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</c:numCache>
            </c:numRef>
          </c:cat>
          <c:val>
            <c:numRef>
              <c:f>Sheet1!$D$2:$D$268</c:f>
              <c:numCache>
                <c:formatCode>#,##0</c:formatCode>
                <c:ptCount val="267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4</c:v>
                </c:pt>
                <c:pt idx="68">
                  <c:v>1165</c:v>
                </c:pt>
                <c:pt idx="69">
                  <c:v>1179</c:v>
                </c:pt>
                <c:pt idx="70">
                  <c:v>1166</c:v>
                </c:pt>
                <c:pt idx="71">
                  <c:v>1107</c:v>
                </c:pt>
                <c:pt idx="72">
                  <c:v>1103</c:v>
                </c:pt>
                <c:pt idx="73">
                  <c:v>1099</c:v>
                </c:pt>
                <c:pt idx="74">
                  <c:v>1067</c:v>
                </c:pt>
                <c:pt idx="75">
                  <c:v>1042</c:v>
                </c:pt>
                <c:pt idx="76">
                  <c:v>1036</c:v>
                </c:pt>
                <c:pt idx="77">
                  <c:v>992</c:v>
                </c:pt>
                <c:pt idx="78">
                  <c:v>1002</c:v>
                </c:pt>
                <c:pt idx="79">
                  <c:v>971</c:v>
                </c:pt>
                <c:pt idx="80">
                  <c:v>957</c:v>
                </c:pt>
                <c:pt idx="81">
                  <c:v>942</c:v>
                </c:pt>
                <c:pt idx="82">
                  <c:v>957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4</c:v>
                </c:pt>
                <c:pt idx="88">
                  <c:v>775</c:v>
                </c:pt>
                <c:pt idx="89">
                  <c:v>760</c:v>
                </c:pt>
                <c:pt idx="90">
                  <c:v>785</c:v>
                </c:pt>
                <c:pt idx="91">
                  <c:v>727</c:v>
                </c:pt>
                <c:pt idx="92">
                  <c:v>711</c:v>
                </c:pt>
                <c:pt idx="93">
                  <c:v>713</c:v>
                </c:pt>
                <c:pt idx="94">
                  <c:v>709</c:v>
                </c:pt>
                <c:pt idx="95">
                  <c:v>685</c:v>
                </c:pt>
                <c:pt idx="96">
                  <c:v>672</c:v>
                </c:pt>
                <c:pt idx="97">
                  <c:v>709</c:v>
                </c:pt>
                <c:pt idx="98">
                  <c:v>697</c:v>
                </c:pt>
                <c:pt idx="99">
                  <c:v>683</c:v>
                </c:pt>
                <c:pt idx="100">
                  <c:v>708</c:v>
                </c:pt>
                <c:pt idx="101">
                  <c:v>696</c:v>
                </c:pt>
                <c:pt idx="102">
                  <c:v>692</c:v>
                </c:pt>
                <c:pt idx="103">
                  <c:v>706</c:v>
                </c:pt>
                <c:pt idx="104">
                  <c:v>724</c:v>
                </c:pt>
                <c:pt idx="105">
                  <c:v>721</c:v>
                </c:pt>
                <c:pt idx="106">
                  <c:v>734</c:v>
                </c:pt>
                <c:pt idx="107">
                  <c:v>722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9</c:v>
                </c:pt>
                <c:pt idx="123">
                  <c:v>959</c:v>
                </c:pt>
                <c:pt idx="124">
                  <c:v>1005</c:v>
                </c:pt>
                <c:pt idx="125">
                  <c:v>1091</c:v>
                </c:pt>
                <c:pt idx="126">
                  <c:v>1112</c:v>
                </c:pt>
                <c:pt idx="127">
                  <c:v>1150</c:v>
                </c:pt>
                <c:pt idx="128">
                  <c:v>1149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8</c:v>
                </c:pt>
                <c:pt idx="151">
                  <c:v>1020</c:v>
                </c:pt>
                <c:pt idx="152">
                  <c:v>1038</c:v>
                </c:pt>
                <c:pt idx="153">
                  <c:v>1077</c:v>
                </c:pt>
                <c:pt idx="154">
                  <c:v>1088</c:v>
                </c:pt>
                <c:pt idx="155">
                  <c:v>1074</c:v>
                </c:pt>
                <c:pt idx="156">
                  <c:v>1100</c:v>
                </c:pt>
                <c:pt idx="157">
                  <c:v>1086</c:v>
                </c:pt>
                <c:pt idx="158">
                  <c:v>1071</c:v>
                </c:pt>
                <c:pt idx="159">
                  <c:v>1098</c:v>
                </c:pt>
                <c:pt idx="160">
                  <c:v>1107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09</c:v>
                </c:pt>
                <c:pt idx="165">
                  <c:v>1103</c:v>
                </c:pt>
                <c:pt idx="166">
                  <c:v>1144</c:v>
                </c:pt>
                <c:pt idx="167">
                  <c:v>1168</c:v>
                </c:pt>
                <c:pt idx="168">
                  <c:v>1211</c:v>
                </c:pt>
                <c:pt idx="169">
                  <c:v>1239</c:v>
                </c:pt>
                <c:pt idx="170">
                  <c:v>1265</c:v>
                </c:pt>
                <c:pt idx="171">
                  <c:v>1268</c:v>
                </c:pt>
                <c:pt idx="172">
                  <c:v>1267</c:v>
                </c:pt>
                <c:pt idx="173">
                  <c:v>1281</c:v>
                </c:pt>
                <c:pt idx="174">
                  <c:v>1360</c:v>
                </c:pt>
                <c:pt idx="175">
                  <c:v>1389</c:v>
                </c:pt>
                <c:pt idx="176">
                  <c:v>1408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2</c:v>
                </c:pt>
                <c:pt idx="181">
                  <c:v>1585</c:v>
                </c:pt>
                <c:pt idx="182">
                  <c:v>1596</c:v>
                </c:pt>
                <c:pt idx="183">
                  <c:v>1623</c:v>
                </c:pt>
                <c:pt idx="184">
                  <c:v>1650</c:v>
                </c:pt>
                <c:pt idx="185">
                  <c:v>1670</c:v>
                </c:pt>
                <c:pt idx="186">
                  <c:v>1671</c:v>
                </c:pt>
                <c:pt idx="187">
                  <c:v>1675</c:v>
                </c:pt>
                <c:pt idx="188">
                  <c:v>1769</c:v>
                </c:pt>
                <c:pt idx="189">
                  <c:v>1797</c:v>
                </c:pt>
                <c:pt idx="190">
                  <c:v>1826</c:v>
                </c:pt>
                <c:pt idx="191">
                  <c:v>1816</c:v>
                </c:pt>
                <c:pt idx="192">
                  <c:v>1828</c:v>
                </c:pt>
                <c:pt idx="193">
                  <c:v>1778</c:v>
                </c:pt>
                <c:pt idx="194">
                  <c:v>1825</c:v>
                </c:pt>
                <c:pt idx="195">
                  <c:v>1883</c:v>
                </c:pt>
                <c:pt idx="196">
                  <c:v>1892</c:v>
                </c:pt>
                <c:pt idx="197">
                  <c:v>1859</c:v>
                </c:pt>
                <c:pt idx="198">
                  <c:v>1858</c:v>
                </c:pt>
                <c:pt idx="199">
                  <c:v>1817</c:v>
                </c:pt>
                <c:pt idx="200">
                  <c:v>1778</c:v>
                </c:pt>
                <c:pt idx="201">
                  <c:v>1802</c:v>
                </c:pt>
                <c:pt idx="202">
                  <c:v>1822</c:v>
                </c:pt>
                <c:pt idx="203">
                  <c:v>1775</c:v>
                </c:pt>
                <c:pt idx="204">
                  <c:v>1743</c:v>
                </c:pt>
                <c:pt idx="207">
                  <c:v>1641</c:v>
                </c:pt>
                <c:pt idx="208">
                  <c:v>1651</c:v>
                </c:pt>
                <c:pt idx="209">
                  <c:v>1661</c:v>
                </c:pt>
                <c:pt idx="210">
                  <c:v>1612</c:v>
                </c:pt>
                <c:pt idx="211">
                  <c:v>1552</c:v>
                </c:pt>
                <c:pt idx="212">
                  <c:v>1503</c:v>
                </c:pt>
                <c:pt idx="213">
                  <c:v>1422</c:v>
                </c:pt>
                <c:pt idx="214">
                  <c:v>1399</c:v>
                </c:pt>
                <c:pt idx="215">
                  <c:v>1378</c:v>
                </c:pt>
                <c:pt idx="216">
                  <c:v>1343</c:v>
                </c:pt>
                <c:pt idx="217">
                  <c:v>1393</c:v>
                </c:pt>
                <c:pt idx="218">
                  <c:v>1359</c:v>
                </c:pt>
                <c:pt idx="219">
                  <c:v>1313</c:v>
                </c:pt>
                <c:pt idx="220">
                  <c:v>1233</c:v>
                </c:pt>
                <c:pt idx="221">
                  <c:v>1214</c:v>
                </c:pt>
                <c:pt idx="222">
                  <c:v>1196</c:v>
                </c:pt>
                <c:pt idx="223">
                  <c:v>1183</c:v>
                </c:pt>
                <c:pt idx="224">
                  <c:v>1155</c:v>
                </c:pt>
                <c:pt idx="225">
                  <c:v>1111</c:v>
                </c:pt>
                <c:pt idx="226">
                  <c:v>1034</c:v>
                </c:pt>
                <c:pt idx="227">
                  <c:v>1011</c:v>
                </c:pt>
                <c:pt idx="228">
                  <c:v>971</c:v>
                </c:pt>
                <c:pt idx="229">
                  <c:v>973</c:v>
                </c:pt>
                <c:pt idx="230">
                  <c:v>992</c:v>
                </c:pt>
                <c:pt idx="231">
                  <c:v>940</c:v>
                </c:pt>
                <c:pt idx="232">
                  <c:v>905</c:v>
                </c:pt>
                <c:pt idx="233">
                  <c:v>830</c:v>
                </c:pt>
                <c:pt idx="234">
                  <c:v>785</c:v>
                </c:pt>
                <c:pt idx="235">
                  <c:v>749</c:v>
                </c:pt>
                <c:pt idx="236">
                  <c:v>757</c:v>
                </c:pt>
                <c:pt idx="237">
                  <c:v>735</c:v>
                </c:pt>
                <c:pt idx="238">
                  <c:v>710</c:v>
                </c:pt>
                <c:pt idx="239">
                  <c:v>683</c:v>
                </c:pt>
                <c:pt idx="240">
                  <c:v>634</c:v>
                </c:pt>
                <c:pt idx="241">
                  <c:v>576</c:v>
                </c:pt>
                <c:pt idx="242">
                  <c:v>552</c:v>
                </c:pt>
                <c:pt idx="243">
                  <c:v>558</c:v>
                </c:pt>
                <c:pt idx="244">
                  <c:v>564</c:v>
                </c:pt>
                <c:pt idx="245">
                  <c:v>543</c:v>
                </c:pt>
                <c:pt idx="246">
                  <c:v>500</c:v>
                </c:pt>
                <c:pt idx="247">
                  <c:v>464</c:v>
                </c:pt>
                <c:pt idx="248">
                  <c:v>442</c:v>
                </c:pt>
                <c:pt idx="249">
                  <c:v>414</c:v>
                </c:pt>
                <c:pt idx="250">
                  <c:v>420</c:v>
                </c:pt>
                <c:pt idx="251">
                  <c:v>425</c:v>
                </c:pt>
                <c:pt idx="252">
                  <c:v>401</c:v>
                </c:pt>
                <c:pt idx="253">
                  <c:v>376</c:v>
                </c:pt>
                <c:pt idx="254">
                  <c:v>366</c:v>
                </c:pt>
                <c:pt idx="255">
                  <c:v>339</c:v>
                </c:pt>
                <c:pt idx="256">
                  <c:v>306</c:v>
                </c:pt>
                <c:pt idx="257">
                  <c:v>301</c:v>
                </c:pt>
                <c:pt idx="258">
                  <c:v>292</c:v>
                </c:pt>
                <c:pt idx="259">
                  <c:v>273</c:v>
                </c:pt>
                <c:pt idx="260">
                  <c:v>244</c:v>
                </c:pt>
                <c:pt idx="261">
                  <c:v>214</c:v>
                </c:pt>
                <c:pt idx="262">
                  <c:v>182</c:v>
                </c:pt>
                <c:pt idx="263">
                  <c:v>179</c:v>
                </c:pt>
                <c:pt idx="264">
                  <c:v>178</c:v>
                </c:pt>
                <c:pt idx="265">
                  <c:v>177</c:v>
                </c:pt>
                <c:pt idx="266">
                  <c:v>1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26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68</c:f>
              <c:numCache>
                <c:formatCode>m/d/yyyy</c:formatCode>
                <c:ptCount val="26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</c:numCache>
            </c:numRef>
          </c:cat>
          <c:val>
            <c:numRef>
              <c:f>Sheet1!$B$2:$B$268</c:f>
              <c:numCache>
                <c:formatCode>#,##0</c:formatCode>
                <c:ptCount val="267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  <c:pt idx="244">
                  <c:v>1586</c:v>
                </c:pt>
                <c:pt idx="245">
                  <c:v>1557</c:v>
                </c:pt>
                <c:pt idx="246">
                  <c:v>1546</c:v>
                </c:pt>
                <c:pt idx="247">
                  <c:v>1574</c:v>
                </c:pt>
                <c:pt idx="248">
                  <c:v>1593</c:v>
                </c:pt>
                <c:pt idx="249">
                  <c:v>1586</c:v>
                </c:pt>
                <c:pt idx="250">
                  <c:v>1588</c:v>
                </c:pt>
                <c:pt idx="251">
                  <c:v>1586</c:v>
                </c:pt>
                <c:pt idx="252">
                  <c:v>1586</c:v>
                </c:pt>
                <c:pt idx="253">
                  <c:v>1602</c:v>
                </c:pt>
                <c:pt idx="254">
                  <c:v>1577</c:v>
                </c:pt>
                <c:pt idx="255">
                  <c:v>1606</c:v>
                </c:pt>
                <c:pt idx="256">
                  <c:v>1594</c:v>
                </c:pt>
                <c:pt idx="257">
                  <c:v>1596</c:v>
                </c:pt>
                <c:pt idx="258">
                  <c:v>1628</c:v>
                </c:pt>
                <c:pt idx="259">
                  <c:v>1609</c:v>
                </c:pt>
                <c:pt idx="260">
                  <c:v>1592</c:v>
                </c:pt>
                <c:pt idx="261">
                  <c:v>1612</c:v>
                </c:pt>
                <c:pt idx="262">
                  <c:v>1646</c:v>
                </c:pt>
                <c:pt idx="263">
                  <c:v>1648</c:v>
                </c:pt>
                <c:pt idx="264">
                  <c:v>1652</c:v>
                </c:pt>
                <c:pt idx="265">
                  <c:v>1655</c:v>
                </c:pt>
                <c:pt idx="266">
                  <c:v>16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8</c:f>
              <c:numCache>
                <c:formatCode>m/d/yyyy</c:formatCode>
                <c:ptCount val="26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</c:numCache>
            </c:numRef>
          </c:cat>
          <c:val>
            <c:numRef>
              <c:f>Sheet1!$C$2:$C$268</c:f>
              <c:numCache>
                <c:formatCode>#,##0</c:formatCode>
                <c:ptCount val="26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26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6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6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chart" Target="../charts/chart4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2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26.05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199696426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87459896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05300611"/>
              </p:ext>
            </p:extLst>
          </p:nvPr>
        </p:nvGraphicFramePr>
        <p:xfrm>
          <a:off x="409660" y="3984266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835847455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3079567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6701702"/>
              </p:ext>
            </p:extLst>
          </p:nvPr>
        </p:nvGraphicFramePr>
        <p:xfrm>
          <a:off x="199580" y="1147680"/>
          <a:ext cx="11792839" cy="5326545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5577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32</TotalTime>
  <Words>1037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Klímová Lucie Bc.</cp:lastModifiedBy>
  <cp:revision>682</cp:revision>
  <dcterms:created xsi:type="dcterms:W3CDTF">2020-08-08T14:25:07Z</dcterms:created>
  <dcterms:modified xsi:type="dcterms:W3CDTF">2021-05-26T03:07:36Z</dcterms:modified>
</cp:coreProperties>
</file>